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diagrams/colors1.xml" ContentType="application/vnd.openxmlformats-officedocument.drawingml.diagramColors+xml"/>
  <Default Extension="bin" ContentType="application/vnd.openxmlformats-officedocument.oleObject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60" r:id="rId2"/>
    <p:sldId id="262" r:id="rId3"/>
    <p:sldId id="295" r:id="rId4"/>
    <p:sldId id="296" r:id="rId5"/>
    <p:sldId id="297" r:id="rId6"/>
    <p:sldId id="298" r:id="rId7"/>
    <p:sldId id="300" r:id="rId8"/>
    <p:sldId id="299" r:id="rId9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660"/>
  </p:normalViewPr>
  <p:slideViewPr>
    <p:cSldViewPr>
      <p:cViewPr>
        <p:scale>
          <a:sx n="90" d="100"/>
          <a:sy n="90" d="100"/>
        </p:scale>
        <p:origin x="-816" y="82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chemeClr val="bg2">
            <a:lumMod val="90000"/>
          </a:schemeClr>
        </a:solidFill>
      </dgm:spPr>
      <dgm:t>
        <a:bodyPr/>
        <a:lstStyle/>
        <a:p>
          <a:endParaRPr lang="ru-RU" sz="1200" b="1" dirty="0" smtClean="0"/>
        </a:p>
        <a:p>
          <a:endParaRPr lang="ru-RU" sz="1200" b="1" dirty="0" smtClean="0"/>
        </a:p>
        <a:p>
          <a:r>
            <a:rPr lang="ru-RU" sz="1200" b="1" dirty="0" smtClean="0"/>
            <a:t>Федеральный </a:t>
          </a:r>
        </a:p>
        <a:p>
          <a:r>
            <a:rPr lang="ru-RU" sz="1200" b="1" dirty="0" smtClean="0"/>
            <a:t>уровень</a:t>
          </a:r>
          <a:endParaRPr lang="ru-RU" sz="1200" b="1" dirty="0"/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FFC000">
            <a:alpha val="70000"/>
          </a:srgbClr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chemeClr val="accent2">
            <a:lumMod val="75000"/>
            <a:alpha val="50000"/>
          </a:schemeClr>
        </a:solidFill>
      </dgm:spPr>
      <dgm:t>
        <a:bodyPr/>
        <a:lstStyle/>
        <a:p>
          <a:r>
            <a:rPr lang="ru-RU" sz="1200" b="1" dirty="0" smtClean="0"/>
            <a:t>Уровень </a:t>
          </a:r>
          <a:r>
            <a:rPr lang="ru-RU" sz="1200" b="1" dirty="0"/>
            <a:t>организации</a:t>
          </a:r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73" custLinFactNeighborY="-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5B055CD-AF9A-41AF-880C-C1D3E09E5F46}" type="presOf" srcId="{C055D918-0D48-44D3-9287-CAE1B93EB64A}" destId="{8C222443-D6D5-437E-8A06-7845FF64044F}" srcOrd="0" destOrd="0" presId="urn:microsoft.com/office/officeart/2005/8/layout/pyramid1"/>
    <dgm:cxn modelId="{8FF97312-6673-421B-95A2-BB92A0865D60}" type="presOf" srcId="{8380A261-4409-4C6B-8A07-0D64C5422F6D}" destId="{3405B94A-B110-4EB0-B99D-680A85764021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143E4032-B20F-4D70-BCFB-A9F93F716C50}" type="presOf" srcId="{CBB2EDB4-08BF-49DB-9282-C363CE23E3D0}" destId="{8064A9E2-4365-4891-A563-4210D9FE6047}" srcOrd="1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0ECEFD62-42E6-4B2F-825E-B293DA13B7CC}" type="presOf" srcId="{F014B99B-BC0F-4D51-AA35-03139CBC5BDF}" destId="{158BBE6D-1C8E-4142-827F-B1B32D20364B}" srcOrd="1" destOrd="0" presId="urn:microsoft.com/office/officeart/2005/8/layout/pyramid1"/>
    <dgm:cxn modelId="{70C1053E-EE52-447D-B594-0B368C6C87AD}" type="presOf" srcId="{CBB2EDB4-08BF-49DB-9282-C363CE23E3D0}" destId="{7099C5AD-A666-455F-9144-31509FAE35FB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675CB419-41F6-4750-8B7F-3B145CB0F527}" type="presOf" srcId="{F014B99B-BC0F-4D51-AA35-03139CBC5BDF}" destId="{47753778-DDCD-4F66-8671-0963E55AC1AB}" srcOrd="0" destOrd="0" presId="urn:microsoft.com/office/officeart/2005/8/layout/pyramid1"/>
    <dgm:cxn modelId="{21E2C45B-EE99-4917-850D-4072018E7978}" type="presOf" srcId="{8380A261-4409-4C6B-8A07-0D64C5422F6D}" destId="{EB789FCB-B92C-4A52-BB06-4A95FA62001B}" srcOrd="1" destOrd="0" presId="urn:microsoft.com/office/officeart/2005/8/layout/pyramid1"/>
    <dgm:cxn modelId="{3276699B-C585-424D-81CC-5810A994FEC2}" type="presParOf" srcId="{8C222443-D6D5-437E-8A06-7845FF64044F}" destId="{8E592AC7-B094-488F-86DE-8B46AA43A5F7}" srcOrd="0" destOrd="0" presId="urn:microsoft.com/office/officeart/2005/8/layout/pyramid1"/>
    <dgm:cxn modelId="{184EA14F-FFBA-4B34-BB75-EA5BAD4E7C81}" type="presParOf" srcId="{8E592AC7-B094-488F-86DE-8B46AA43A5F7}" destId="{47753778-DDCD-4F66-8671-0963E55AC1AB}" srcOrd="0" destOrd="0" presId="urn:microsoft.com/office/officeart/2005/8/layout/pyramid1"/>
    <dgm:cxn modelId="{90322AC4-4732-4DCC-8134-E0F0D410FC2E}" type="presParOf" srcId="{8E592AC7-B094-488F-86DE-8B46AA43A5F7}" destId="{158BBE6D-1C8E-4142-827F-B1B32D20364B}" srcOrd="1" destOrd="0" presId="urn:microsoft.com/office/officeart/2005/8/layout/pyramid1"/>
    <dgm:cxn modelId="{365A1B99-091C-476B-B003-139BBF1C65D5}" type="presParOf" srcId="{8C222443-D6D5-437E-8A06-7845FF64044F}" destId="{08609C55-E487-4600-AFD0-8994D3888F22}" srcOrd="1" destOrd="0" presId="urn:microsoft.com/office/officeart/2005/8/layout/pyramid1"/>
    <dgm:cxn modelId="{2D4B5D4F-41AB-4715-8665-DECAC62C3335}" type="presParOf" srcId="{08609C55-E487-4600-AFD0-8994D3888F22}" destId="{7099C5AD-A666-455F-9144-31509FAE35FB}" srcOrd="0" destOrd="0" presId="urn:microsoft.com/office/officeart/2005/8/layout/pyramid1"/>
    <dgm:cxn modelId="{F738EB09-24AA-4BA5-8C18-2BF268BAF2A0}" type="presParOf" srcId="{08609C55-E487-4600-AFD0-8994D3888F22}" destId="{8064A9E2-4365-4891-A563-4210D9FE6047}" srcOrd="1" destOrd="0" presId="urn:microsoft.com/office/officeart/2005/8/layout/pyramid1"/>
    <dgm:cxn modelId="{4B89E5CD-9C3F-4067-8321-150A33AD0601}" type="presParOf" srcId="{8C222443-D6D5-437E-8A06-7845FF64044F}" destId="{4E66420A-6794-4210-A8DC-A681DFE94B26}" srcOrd="2" destOrd="0" presId="urn:microsoft.com/office/officeart/2005/8/layout/pyramid1"/>
    <dgm:cxn modelId="{C1CB99B9-CE77-44FA-9329-85EE85E8616F}" type="presParOf" srcId="{4E66420A-6794-4210-A8DC-A681DFE94B26}" destId="{3405B94A-B110-4EB0-B99D-680A85764021}" srcOrd="0" destOrd="0" presId="urn:microsoft.com/office/officeart/2005/8/layout/pyramid1"/>
    <dgm:cxn modelId="{40423A96-5247-412F-A09D-08A5A90E1AB7}" type="presParOf" srcId="{4E66420A-6794-4210-A8DC-A681DFE94B26}" destId="{EB789FCB-B92C-4A52-BB06-4A95FA62001B}" srcOrd="1" destOrd="0" presId="urn:microsoft.com/office/officeart/2005/8/layout/pyramid1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27.10.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27.10.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27.10.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27.10.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27.10.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27.10.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27.10.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27.10.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27.10.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27.10.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27.10.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27.10.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27.10.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0" y="428604"/>
            <a:ext cx="8648700" cy="439738"/>
          </a:xfrm>
        </p:spPr>
        <p:txBody>
          <a:bodyPr>
            <a:noAutofit/>
          </a:bodyPr>
          <a:lstStyle/>
          <a:p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ПАСПОРТ ПРОЕКТА  «</a:t>
            </a:r>
            <a:r>
              <a:rPr lang="ru-RU" sz="1400" b="1" cap="all" dirty="0" smtClean="0">
                <a:latin typeface="Times New Roman" pitchFamily="18" charset="0"/>
                <a:cs typeface="Times New Roman" pitchFamily="18" charset="0"/>
              </a:rPr>
              <a:t>Оптимизация процесса </a:t>
            </a:r>
            <a:br>
              <a:rPr lang="ru-RU" sz="1400" b="1" cap="all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400" b="1" cap="all" dirty="0" smtClean="0">
                <a:latin typeface="Times New Roman" pitchFamily="18" charset="0"/>
                <a:cs typeface="Times New Roman" pitchFamily="18" charset="0"/>
              </a:rPr>
              <a:t>презентации центров активности в группе для мотивации самостоятельной деятельности воспитанников»</a:t>
            </a:r>
            <a:endParaRPr lang="ru-RU" sz="1400" b="1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>
            <a:extLst>
              <a:ext uri="{FF2B5EF4-FFF2-40B4-BE49-F238E27FC236}"/>
            </a:extLst>
          </p:cNvPr>
          <p:cNvSpPr/>
          <p:nvPr/>
        </p:nvSpPr>
        <p:spPr>
          <a:xfrm>
            <a:off x="285720" y="1000108"/>
            <a:ext cx="8636000" cy="161609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85720" y="2643182"/>
            <a:ext cx="8636000" cy="171451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>
            <a:extLst>
              <a:ext uri="{FF2B5EF4-FFF2-40B4-BE49-F238E27FC236}"/>
            </a:extLst>
          </p:cNvPr>
          <p:cNvSpPr txBox="1"/>
          <p:nvPr/>
        </p:nvSpPr>
        <p:spPr>
          <a:xfrm>
            <a:off x="357158" y="1071546"/>
            <a:ext cx="1798637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Общая информация </a:t>
            </a:r>
          </a:p>
        </p:txBody>
      </p:sp>
      <p:sp>
        <p:nvSpPr>
          <p:cNvPr id="8" name="Прямоугольник 7">
            <a:extLst>
              <a:ext uri="{FF2B5EF4-FFF2-40B4-BE49-F238E27FC236}"/>
            </a:extLst>
          </p:cNvPr>
          <p:cNvSpPr/>
          <p:nvPr/>
        </p:nvSpPr>
        <p:spPr>
          <a:xfrm>
            <a:off x="285720" y="4500570"/>
            <a:ext cx="8643998" cy="89695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357158" y="2643182"/>
            <a:ext cx="265156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</a:rPr>
              <a:t>Обоснование выбора процесса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0" name="TextBox 9">
            <a:extLst>
              <a:ext uri="{FF2B5EF4-FFF2-40B4-BE49-F238E27FC236}"/>
            </a:extLst>
          </p:cNvPr>
          <p:cNvSpPr txBox="1"/>
          <p:nvPr/>
        </p:nvSpPr>
        <p:spPr>
          <a:xfrm>
            <a:off x="428596" y="4357694"/>
            <a:ext cx="121264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Цель </a:t>
            </a:r>
            <a:r>
              <a:rPr lang="ru-RU" sz="1400" dirty="0">
                <a:solidFill>
                  <a:schemeClr val="accent2"/>
                </a:solidFill>
                <a:latin typeface="+mn-lt"/>
              </a:rPr>
              <a:t>проекта</a:t>
            </a: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143108" y="928670"/>
            <a:ext cx="5072098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ru-RU" sz="12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Наименование органа местного  самоуправления: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Управление образования администрации </a:t>
            </a:r>
            <a:r>
              <a:rPr lang="ru-RU" sz="1200" dirty="0" err="1" smtClean="0">
                <a:latin typeface="Times New Roman" pitchFamily="18" charset="0"/>
                <a:cs typeface="Times New Roman" pitchFamily="18" charset="0"/>
              </a:rPr>
              <a:t>Яковлевского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городского округа</a:t>
            </a:r>
          </a:p>
          <a:p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Наименование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образовательной организации: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МБДОУ «Детский сад «Светлячок» г.Строитель»</a:t>
            </a:r>
            <a:endParaRPr lang="ru-RU" sz="1200" b="1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Границы процесса: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т презентация центров активности до проявления  детьми самостоятельной  деятельности в центрах активности</a:t>
            </a:r>
          </a:p>
          <a:p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Дата начала  проекта: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10. 06. 2020.</a:t>
            </a:r>
          </a:p>
          <a:p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Дата окончания проекта: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23.10.2020г.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463550" y="2980691"/>
            <a:ext cx="8315325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1.Отсутствие мотивации у воспитанников для самостоятельной деятельности.</a:t>
            </a:r>
          </a:p>
          <a:p>
            <a:pPr lvl="0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2.Использование центров активности не по назначению</a:t>
            </a:r>
          </a:p>
          <a:p>
            <a:pPr lvl="0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3.Низкий уровень посещаемости центров активности</a:t>
            </a:r>
          </a:p>
          <a:p>
            <a:pPr lvl="0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4. Затруднение воспитанников в эффективном использовании центров активности.</a:t>
            </a:r>
          </a:p>
          <a:p>
            <a:pPr lvl="0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5.Отсутствие маркировки в центрах активности</a:t>
            </a:r>
          </a:p>
          <a:p>
            <a:pPr lvl="0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6.Не во всех центрах есть алгоритмы действий детей.</a:t>
            </a:r>
          </a:p>
          <a:p>
            <a:pPr marL="349250" indent="-349250"/>
            <a:r>
              <a:rPr lang="ru-RU" sz="1400" dirty="0" smtClean="0">
                <a:solidFill>
                  <a:srgbClr val="002060"/>
                </a:solidFill>
              </a:rPr>
              <a:t>.</a:t>
            </a:r>
          </a:p>
          <a:p>
            <a:pPr marL="349250" indent="-349250">
              <a:buFont typeface="Arial" charset="0"/>
              <a:buAutoNum type="arabicPeriod"/>
            </a:pPr>
            <a:endParaRPr lang="ru-RU" sz="1400" dirty="0">
              <a:solidFill>
                <a:srgbClr val="002060"/>
              </a:solidFill>
            </a:endParaRPr>
          </a:p>
          <a:p>
            <a:pPr marL="349250" indent="-349250">
              <a:buFont typeface="Arial" charset="0"/>
              <a:buAutoNum type="arabicPeriod"/>
            </a:pPr>
            <a:endParaRPr lang="ru-RU" sz="1400" dirty="0" smtClean="0">
              <a:solidFill>
                <a:srgbClr val="00206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46100" y="4797152"/>
            <a:ext cx="8323263" cy="5847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2060"/>
                </a:solidFill>
                <a:latin typeface="+mn-lt"/>
              </a:rPr>
              <a:t>                         </a:t>
            </a:r>
            <a:endParaRPr lang="ru-RU" sz="1600" dirty="0" smtClean="0">
              <a:solidFill>
                <a:srgbClr val="002060"/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solidFill>
                <a:srgbClr val="002060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/>
            </a:extLst>
          </p:cNvPr>
          <p:cNvSpPr/>
          <p:nvPr/>
        </p:nvSpPr>
        <p:spPr>
          <a:xfrm>
            <a:off x="285720" y="5500702"/>
            <a:ext cx="8643998" cy="114300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>
              <a:ext uri="{FF2B5EF4-FFF2-40B4-BE49-F238E27FC236}"/>
            </a:extLst>
          </p:cNvPr>
          <p:cNvSpPr txBox="1"/>
          <p:nvPr/>
        </p:nvSpPr>
        <p:spPr>
          <a:xfrm>
            <a:off x="357158" y="5500702"/>
            <a:ext cx="151996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Эффекты </a:t>
            </a:r>
            <a:r>
              <a:rPr lang="ru-RU" sz="1400" dirty="0">
                <a:solidFill>
                  <a:schemeClr val="accent2"/>
                </a:solidFill>
                <a:latin typeface="+mn-lt"/>
              </a:rPr>
              <a:t>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85720" y="5715016"/>
            <a:ext cx="858751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 smtClean="0"/>
              <a:t>1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. Повышение мотивации у дошкольников к самостоятельной деятельности..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2. Улучшение эмоционального и психологического состояния детей.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3. Разработка и размещение алгоритмов деятельности детей в центрах активности.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4. Дооснащение невостребованных центров активности</a:t>
            </a:r>
            <a:endParaRPr lang="ru-RU" sz="14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 dirty="0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58" y="1428736"/>
            <a:ext cx="1899292" cy="122166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357158" y="4643446"/>
            <a:ext cx="857256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AutoNum type="arabicPeriod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Сокращение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ременных затрат на принятие ребенком самостоятельного решения осуществления деятельности в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центре активности, согласно его предназначению </a:t>
            </a:r>
            <a:r>
              <a:rPr lang="ru-RU" sz="1400" dirty="0" smtClean="0">
                <a:latin typeface="Times New Roman"/>
                <a:ea typeface="Calibri"/>
                <a:cs typeface="Times New Roman"/>
              </a:rPr>
              <a:t>не </a:t>
            </a:r>
            <a:r>
              <a:rPr lang="ru-RU" sz="1400" dirty="0" smtClean="0">
                <a:latin typeface="Times New Roman"/>
                <a:ea typeface="Calibri"/>
                <a:cs typeface="Times New Roman"/>
              </a:rPr>
              <a:t>менее чем на </a:t>
            </a:r>
            <a:r>
              <a:rPr lang="ru-RU" sz="1400" dirty="0" smtClean="0">
                <a:latin typeface="Times New Roman"/>
                <a:ea typeface="Calibri"/>
                <a:cs typeface="Times New Roman"/>
              </a:rPr>
              <a:t>30%.</a:t>
            </a:r>
          </a:p>
          <a:p>
            <a:pPr marL="342900" indent="-342900">
              <a:buAutoNum type="arabicPeriod"/>
            </a:pPr>
            <a:r>
              <a:rPr lang="ru-RU" sz="1400" dirty="0" smtClean="0">
                <a:latin typeface="Times New Roman"/>
                <a:cs typeface="Times New Roman"/>
              </a:rPr>
              <a:t>Увеличение времени проявления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детьми самостоятельной  деятельности в центрах активности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018428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>
              <a:ext uri="{FF2B5EF4-FFF2-40B4-BE49-F238E27FC236}"/>
            </a:extLst>
          </p:cNvPr>
          <p:cNvSpPr/>
          <p:nvPr/>
        </p:nvSpPr>
        <p:spPr>
          <a:xfrm>
            <a:off x="214282" y="3571876"/>
            <a:ext cx="8501122" cy="246380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14282" y="1214422"/>
            <a:ext cx="8501122" cy="228601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>
              <a:ext uri="{FF2B5EF4-FFF2-40B4-BE49-F238E27FC236}"/>
            </a:extLst>
          </p:cNvPr>
          <p:cNvSpPr txBox="1"/>
          <p:nvPr/>
        </p:nvSpPr>
        <p:spPr>
          <a:xfrm>
            <a:off x="317500" y="1306513"/>
            <a:ext cx="1644650" cy="5222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уководство проектом</a:t>
            </a: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/>
        </p:nvSpPr>
        <p:spPr>
          <a:xfrm>
            <a:off x="315913" y="3630613"/>
            <a:ext cx="1517403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Команда проекта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2101800" y="3074988"/>
            <a:ext cx="1462088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ru-RU" sz="1000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Clr>
                <a:srgbClr val="002960"/>
              </a:buClr>
              <a:defRPr/>
            </a:pP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2428860" y="3071810"/>
            <a:ext cx="1785938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sz="1000" dirty="0" err="1" smtClean="0">
                <a:latin typeface="Times New Roman" pitchFamily="18" charset="0"/>
                <a:cs typeface="Times New Roman" pitchFamily="18" charset="0"/>
              </a:rPr>
              <a:t>Тютина</a:t>
            </a:r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  В.И.</a:t>
            </a:r>
          </a:p>
          <a:p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старший воспитатель</a:t>
            </a:r>
          </a:p>
          <a:p>
            <a:pPr>
              <a:buClr>
                <a:srgbClr val="002960"/>
              </a:buClr>
              <a:defRPr/>
            </a:pPr>
            <a:endParaRPr lang="ru-RU" altLang="ru-RU" sz="1000" b="1" kern="0" dirty="0" smtClean="0">
              <a:solidFill>
                <a:srgbClr val="00295C"/>
              </a:solidFill>
            </a:endParaRP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2428860" y="1357299"/>
            <a:ext cx="2143139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 algn="ctr">
              <a:buClr>
                <a:srgbClr val="002960"/>
              </a:buClr>
              <a:buSzPct val="89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Руководитель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500298" y="1571612"/>
            <a:ext cx="1285676" cy="147081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Rectangle 53"/>
          <p:cNvSpPr txBox="1">
            <a:spLocks noChangeArrowheads="1"/>
          </p:cNvSpPr>
          <p:nvPr/>
        </p:nvSpPr>
        <p:spPr bwMode="auto">
          <a:xfrm>
            <a:off x="467544" y="5579368"/>
            <a:ext cx="1604126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Орехова Е.К.</a:t>
            </a:r>
          </a:p>
          <a:p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заведующий</a:t>
            </a:r>
          </a:p>
          <a:p>
            <a:pPr algn="ctr"/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467544" y="4090293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4" name="Rectangle 53"/>
          <p:cNvSpPr txBox="1">
            <a:spLocks noChangeArrowheads="1"/>
          </p:cNvSpPr>
          <p:nvPr/>
        </p:nvSpPr>
        <p:spPr bwMode="auto">
          <a:xfrm>
            <a:off x="1928794" y="5643578"/>
            <a:ext cx="1462088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Чеботарева О.В.</a:t>
            </a:r>
          </a:p>
          <a:p>
            <a:pPr algn="ctr"/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воспитатель</a:t>
            </a:r>
            <a:endParaRPr lang="ru-RU" sz="1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000232" y="4143380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2</a:t>
            </a:fld>
            <a:endParaRPr lang="ru-RU" sz="1400" dirty="0"/>
          </a:p>
        </p:txBody>
      </p:sp>
      <p:pic>
        <p:nvPicPr>
          <p:cNvPr id="24" name="Picture 4" descr="http://dssvetlachok.yak-uo.ru/media/_versions/%D0%BE%D1%80%D0%B5%D1%85%D0%BE%D0%B2%D0%B0_small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8596" y="4214818"/>
            <a:ext cx="1267771" cy="128588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5" name="Picture 5" descr="C:\Users\User\Desktop\САЙТ\Сведения об образовательной организации\Руководство. Педагогический состав\8237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43174" y="1571612"/>
            <a:ext cx="1071570" cy="160747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9458" name="Picture 2" descr="http://sad4kr-gr.ucoz.net/KARTINKI/logotip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0034" y="1857364"/>
            <a:ext cx="1000132" cy="1287171"/>
          </a:xfrm>
          <a:prstGeom prst="rect">
            <a:avLst/>
          </a:prstGeom>
          <a:noFill/>
        </p:spPr>
      </p:pic>
      <p:pic>
        <p:nvPicPr>
          <p:cNvPr id="48129" name="Picture 1" descr="C:\Users\User\Desktop\САЙТ\Сведения об образовательной организации\Руководство. Педагогический состав\8238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71670" y="4214818"/>
            <a:ext cx="885805" cy="13288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9043696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Заголовок 1"/>
          <p:cNvSpPr>
            <a:spLocks noGrp="1"/>
          </p:cNvSpPr>
          <p:nvPr>
            <p:ph type="title"/>
          </p:nvPr>
        </p:nvSpPr>
        <p:spPr>
          <a:xfrm>
            <a:off x="214313" y="1071563"/>
            <a:ext cx="8643937" cy="531812"/>
          </a:xfrm>
        </p:spPr>
        <p:txBody>
          <a:bodyPr>
            <a:normAutofit fontScale="90000"/>
          </a:bodyPr>
          <a:lstStyle/>
          <a:p>
            <a:r>
              <a:rPr lang="ru-RU" altLang="ru-RU" sz="2000" b="1" dirty="0" smtClean="0">
                <a:latin typeface="Times New Roman" pitchFamily="18" charset="0"/>
                <a:cs typeface="Times New Roman" pitchFamily="18" charset="0"/>
              </a:rPr>
              <a:t>Карта текущего состояния процесса</a:t>
            </a:r>
            <a:r>
              <a:rPr lang="ru-RU" sz="1400" b="1" dirty="0" smtClean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/>
            </a:r>
            <a:br>
              <a:rPr lang="ru-RU" sz="1400" b="1" dirty="0" smtClean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</a:br>
            <a:r>
              <a:rPr lang="ru-RU" sz="1800" b="1" dirty="0" smtClean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«</a:t>
            </a:r>
            <a:r>
              <a:rPr lang="ru-RU" sz="1800" u="sng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Оптимизация </a:t>
            </a:r>
            <a:r>
              <a:rPr lang="ru-RU" sz="1800" u="sng" dirty="0" smtClean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роцесса презентации центров активности в группе для мотивации самостоятельной деятельности воспитанников» </a:t>
            </a:r>
            <a:r>
              <a:rPr lang="ru-RU" sz="1800" b="1" dirty="0" smtClean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»</a:t>
            </a:r>
            <a:r>
              <a:rPr lang="ru-RU" sz="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800" dirty="0" smtClean="0">
                <a:latin typeface="Arial" pitchFamily="34" charset="0"/>
                <a:cs typeface="Arial" pitchFamily="34" charset="0"/>
              </a:rPr>
            </a:br>
            <a:endParaRPr lang="ru-RU" altLang="ru-RU" sz="20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5"/>
            <a:ext cx="8470900" cy="6477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Franklin Gothic Medium" pitchFamily="34" charset="0"/>
              </a:rPr>
              <a:t>Введение в предметную область</a:t>
            </a:r>
            <a:br>
              <a:rPr lang="ru-RU" sz="24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r>
              <a:rPr lang="ru-RU" sz="2400" b="1" dirty="0" smtClean="0">
                <a:solidFill>
                  <a:schemeClr val="tx1"/>
                </a:solidFill>
                <a:latin typeface="Franklin Gothic Medium" pitchFamily="34" charset="0"/>
              </a:rPr>
              <a:t>(описание ситуации «как есть»)</a:t>
            </a:r>
            <a:br>
              <a:rPr lang="ru-RU" sz="24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2400" b="1" dirty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74A261D7-6997-4E55-B5F3-94244C57EDE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89" name="Таблица 88"/>
          <p:cNvGraphicFramePr>
            <a:graphicFrameLocks noGrp="1"/>
          </p:cNvGraphicFramePr>
          <p:nvPr/>
        </p:nvGraphicFramePr>
        <p:xfrm>
          <a:off x="6000750" y="5357813"/>
          <a:ext cx="3143240" cy="149093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143240"/>
              </a:tblGrid>
              <a:tr h="266199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8677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5835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9365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391386206"/>
              </p:ext>
            </p:extLst>
          </p:nvPr>
        </p:nvGraphicFramePr>
        <p:xfrm>
          <a:off x="7072330" y="3500438"/>
          <a:ext cx="1143008" cy="134112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143008"/>
              </a:tblGrid>
              <a:tr h="228123"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Воспитанники</a:t>
                      </a:r>
                    </a:p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  <a:tr h="528830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Организуют деятельность</a:t>
                      </a:r>
                      <a:r>
                        <a:rPr lang="ru-RU" sz="9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в центре, согласно инструкции воспитателя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  <a:tr h="155538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7-10 мин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</a:tbl>
          </a:graphicData>
        </a:graphic>
      </p:graphicFrame>
      <p:graphicFrame>
        <p:nvGraphicFramePr>
          <p:cNvPr id="52" name="Таблица 51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118777264"/>
              </p:ext>
            </p:extLst>
          </p:nvPr>
        </p:nvGraphicFramePr>
        <p:xfrm>
          <a:off x="5214942" y="3429000"/>
          <a:ext cx="1143008" cy="1357321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143008"/>
              </a:tblGrid>
              <a:tr h="37798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Воспитанники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  <a:tr h="721614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Ждут (нуждаются в инструкции воспитателя)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  <a:tr h="257719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3-5 мин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</a:tbl>
          </a:graphicData>
        </a:graphic>
      </p:graphicFrame>
      <p:graphicFrame>
        <p:nvGraphicFramePr>
          <p:cNvPr id="53" name="Таблица 52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103387707"/>
              </p:ext>
            </p:extLst>
          </p:nvPr>
        </p:nvGraphicFramePr>
        <p:xfrm>
          <a:off x="3214678" y="3500438"/>
          <a:ext cx="1285884" cy="1228732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85884"/>
              </a:tblGrid>
              <a:tr h="220027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Воспитанники</a:t>
                      </a:r>
                    </a:p>
                    <a:p>
                      <a:endParaRPr lang="ru-RU" sz="8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  <a:tr h="664852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Выбирают центр</a:t>
                      </a:r>
                      <a:r>
                        <a:rPr lang="ru-RU" sz="9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активности (после предложения воспитателя)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  <a:tr h="220027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-2</a:t>
                      </a:r>
                      <a:r>
                        <a:rPr lang="ru-RU" sz="9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мин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</a:tbl>
          </a:graphicData>
        </a:graphic>
      </p:graphicFrame>
      <p:graphicFrame>
        <p:nvGraphicFramePr>
          <p:cNvPr id="54" name="Таблица 5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940511460"/>
              </p:ext>
            </p:extLst>
          </p:nvPr>
        </p:nvGraphicFramePr>
        <p:xfrm>
          <a:off x="642910" y="3357562"/>
          <a:ext cx="1428760" cy="1396059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428760"/>
              </a:tblGrid>
              <a:tr h="50006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Воспитатели</a:t>
                      </a:r>
                      <a:r>
                        <a:rPr lang="ru-RU" sz="8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группы</a:t>
                      </a:r>
                      <a:endParaRPr lang="ru-RU" sz="800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  <a:tr h="532756"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Презентация  центров активности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  <a:tr h="363243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20-30 мин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</a:tbl>
          </a:graphicData>
        </a:graphic>
      </p:graphicFrame>
      <p:sp>
        <p:nvSpPr>
          <p:cNvPr id="55" name="Стрелка вправо 54"/>
          <p:cNvSpPr/>
          <p:nvPr/>
        </p:nvSpPr>
        <p:spPr>
          <a:xfrm>
            <a:off x="6500826" y="3429000"/>
            <a:ext cx="428628" cy="270318"/>
          </a:xfrm>
          <a:prstGeom prst="right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endParaRPr lang="ru-RU" b="1">
              <a:ln w="11430"/>
              <a:gradFill>
                <a:gsLst>
                  <a:gs pos="0">
                    <a:schemeClr val="accent6">
                      <a:tint val="90000"/>
                      <a:satMod val="120000"/>
                    </a:schemeClr>
                  </a:gs>
                  <a:gs pos="25000">
                    <a:schemeClr val="accent6">
                      <a:tint val="93000"/>
                      <a:satMod val="120000"/>
                    </a:schemeClr>
                  </a:gs>
                  <a:gs pos="50000">
                    <a:schemeClr val="accent6">
                      <a:shade val="89000"/>
                      <a:satMod val="110000"/>
                    </a:schemeClr>
                  </a:gs>
                  <a:gs pos="75000">
                    <a:schemeClr val="accent6">
                      <a:tint val="93000"/>
                      <a:satMod val="120000"/>
                    </a:schemeClr>
                  </a:gs>
                  <a:gs pos="100000">
                    <a:schemeClr val="accent6">
                      <a:tint val="90000"/>
                      <a:satMod val="120000"/>
                    </a:schemeClr>
                  </a:gs>
                </a:gsLst>
                <a:lin ang="5400000"/>
              </a:gra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57" name="Стрелка вправо 56"/>
          <p:cNvSpPr/>
          <p:nvPr/>
        </p:nvSpPr>
        <p:spPr>
          <a:xfrm>
            <a:off x="4714876" y="3357562"/>
            <a:ext cx="285752" cy="270318"/>
          </a:xfrm>
          <a:prstGeom prst="right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endParaRPr lang="ru-RU" b="1">
              <a:ln w="11430"/>
              <a:gradFill>
                <a:gsLst>
                  <a:gs pos="0">
                    <a:schemeClr val="accent6">
                      <a:tint val="90000"/>
                      <a:satMod val="120000"/>
                    </a:schemeClr>
                  </a:gs>
                  <a:gs pos="25000">
                    <a:schemeClr val="accent6">
                      <a:tint val="93000"/>
                      <a:satMod val="120000"/>
                    </a:schemeClr>
                  </a:gs>
                  <a:gs pos="50000">
                    <a:schemeClr val="accent6">
                      <a:shade val="89000"/>
                      <a:satMod val="110000"/>
                    </a:schemeClr>
                  </a:gs>
                  <a:gs pos="75000">
                    <a:schemeClr val="accent6">
                      <a:tint val="93000"/>
                      <a:satMod val="120000"/>
                    </a:schemeClr>
                  </a:gs>
                  <a:gs pos="100000">
                    <a:schemeClr val="accent6">
                      <a:tint val="90000"/>
                      <a:satMod val="120000"/>
                    </a:schemeClr>
                  </a:gs>
                </a:gsLst>
                <a:lin ang="5400000"/>
              </a:gra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62" name="Стрелка вправо 61"/>
          <p:cNvSpPr/>
          <p:nvPr/>
        </p:nvSpPr>
        <p:spPr>
          <a:xfrm>
            <a:off x="2571736" y="3286124"/>
            <a:ext cx="357190" cy="270318"/>
          </a:xfrm>
          <a:prstGeom prst="right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endParaRPr lang="ru-RU" b="1">
              <a:ln w="11430"/>
              <a:gradFill>
                <a:gsLst>
                  <a:gs pos="0">
                    <a:schemeClr val="accent6">
                      <a:tint val="90000"/>
                      <a:satMod val="120000"/>
                    </a:schemeClr>
                  </a:gs>
                  <a:gs pos="25000">
                    <a:schemeClr val="accent6">
                      <a:tint val="93000"/>
                      <a:satMod val="120000"/>
                    </a:schemeClr>
                  </a:gs>
                  <a:gs pos="50000">
                    <a:schemeClr val="accent6">
                      <a:shade val="89000"/>
                      <a:satMod val="110000"/>
                    </a:schemeClr>
                  </a:gs>
                  <a:gs pos="75000">
                    <a:schemeClr val="accent6">
                      <a:tint val="93000"/>
                      <a:satMod val="120000"/>
                    </a:schemeClr>
                  </a:gs>
                  <a:gs pos="100000">
                    <a:schemeClr val="accent6">
                      <a:tint val="90000"/>
                      <a:satMod val="120000"/>
                    </a:schemeClr>
                  </a:gs>
                </a:gsLst>
                <a:lin ang="5400000"/>
              </a:gra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65" name="Пятно 1 60"/>
          <p:cNvSpPr/>
          <p:nvPr/>
        </p:nvSpPr>
        <p:spPr>
          <a:xfrm>
            <a:off x="1714480" y="3071810"/>
            <a:ext cx="642942" cy="433387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8" name="Пятно 1 60"/>
          <p:cNvSpPr/>
          <p:nvPr/>
        </p:nvSpPr>
        <p:spPr>
          <a:xfrm>
            <a:off x="5214942" y="3000372"/>
            <a:ext cx="500066" cy="433387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0" name="Пятно 1 60"/>
          <p:cNvSpPr/>
          <p:nvPr/>
        </p:nvSpPr>
        <p:spPr>
          <a:xfrm>
            <a:off x="3143240" y="3000372"/>
            <a:ext cx="500066" cy="433387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4" name="Пятно 1 60"/>
          <p:cNvSpPr/>
          <p:nvPr/>
        </p:nvSpPr>
        <p:spPr>
          <a:xfrm>
            <a:off x="7000892" y="3071810"/>
            <a:ext cx="500066" cy="433387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3071802" y="2357430"/>
            <a:ext cx="17145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тсутствие интереса у детей  в центре активности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214942" y="2500306"/>
            <a:ext cx="16430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Не получают инструкцию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642910" y="2143116"/>
            <a:ext cx="171451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Насыщение центров активности  </a:t>
            </a:r>
          </a:p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материалом не интересным, не понятным для детей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6643702" y="2428868"/>
            <a:ext cx="22145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Не понимают предназначение центра. Быстро теряют интерес,  уходят из центра</a:t>
            </a:r>
            <a:endParaRPr lang="ru-RU" sz="1200" dirty="0"/>
          </a:p>
        </p:txBody>
      </p:sp>
      <p:sp>
        <p:nvSpPr>
          <p:cNvPr id="90" name="Прямоугольник 89"/>
          <p:cNvSpPr/>
          <p:nvPr/>
        </p:nvSpPr>
        <p:spPr>
          <a:xfrm>
            <a:off x="214282" y="5929330"/>
            <a:ext cx="60722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ВПП (время протекания процесса) – 31- 47 минут</a:t>
            </a:r>
            <a:r>
              <a:rPr lang="ru-RU" dirty="0" smtClean="0"/>
              <a:t> </a:t>
            </a:r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304800" y="1412875"/>
            <a:ext cx="8686800" cy="550863"/>
          </a:xfrm>
        </p:spPr>
        <p:txBody>
          <a:bodyPr/>
          <a:lstStyle/>
          <a:p>
            <a:pPr eaLnBrk="1" hangingPunct="1"/>
            <a:r>
              <a:rPr lang="ru-RU" sz="2400" smtClean="0"/>
              <a:t>Пирамида проблем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72398FC-FD3C-463B-98CB-8FF5F6A254E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07950" y="4048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2000" b="1" dirty="0" smtClean="0">
                <a:solidFill>
                  <a:schemeClr val="tx1"/>
                </a:solidFill>
                <a:latin typeface="Franklin Gothic Medium" pitchFamily="34" charset="0"/>
              </a:rPr>
              <a:t>Введение в предметную область</a:t>
            </a:r>
            <a:br>
              <a:rPr lang="ru-RU" sz="2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r>
              <a:rPr lang="ru-RU" sz="2000" b="1" dirty="0" smtClean="0">
                <a:solidFill>
                  <a:schemeClr val="tx1"/>
                </a:solidFill>
                <a:latin typeface="Franklin Gothic Medium" pitchFamily="34" charset="0"/>
              </a:rPr>
              <a:t>(описание ситуации «как есть»)</a:t>
            </a: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/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 smtClean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graphicFrame>
        <p:nvGraphicFramePr>
          <p:cNvPr id="6" name="Схема 5"/>
          <p:cNvGraphicFramePr/>
          <p:nvPr/>
        </p:nvGraphicFramePr>
        <p:xfrm>
          <a:off x="1071538" y="2285993"/>
          <a:ext cx="5214974" cy="4000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143375" y="3143250"/>
            <a:ext cx="2071688" cy="42862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>
                <a:solidFill>
                  <a:schemeClr val="tx1"/>
                </a:solidFill>
              </a:rPr>
              <a:t>НЕ ВЫЯВЛЕНЫ</a:t>
            </a:r>
          </a:p>
        </p:txBody>
      </p:sp>
      <p:sp>
        <p:nvSpPr>
          <p:cNvPr id="9" name="Пятно 1 60"/>
          <p:cNvSpPr/>
          <p:nvPr/>
        </p:nvSpPr>
        <p:spPr>
          <a:xfrm>
            <a:off x="1857375" y="5286375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2428875" y="5857875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4429125" y="5786438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5" name="Пятно 1 60"/>
          <p:cNvSpPr/>
          <p:nvPr/>
        </p:nvSpPr>
        <p:spPr>
          <a:xfrm>
            <a:off x="4572000" y="5072063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4500563" y="4286250"/>
            <a:ext cx="2500312" cy="500063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>
                <a:solidFill>
                  <a:schemeClr val="tx1"/>
                </a:solidFill>
              </a:rPr>
              <a:t>НЕ ВЫЯВЛЕНЫ</a:t>
            </a: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/>
        </p:nvGraphicFramePr>
        <p:xfrm>
          <a:off x="5643570" y="4929198"/>
          <a:ext cx="3286148" cy="2743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286148"/>
              </a:tblGrid>
              <a:tr h="891059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Насыщение центров активности   материалом не интересным, не понятным для детей</a:t>
                      </a:r>
                    </a:p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Отсутствие интереса у детей в центре активности</a:t>
                      </a:r>
                    </a:p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  Не получают инструкцию</a:t>
                      </a:r>
                    </a:p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  Не понимают предназначение центра</a:t>
                      </a:r>
                    </a:p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 Быстро теряют интерес, уходят из центра</a:t>
                      </a:r>
                    </a:p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8013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8013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112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B25DD7A-B814-46E7-A598-17158D40F949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42875" y="500063"/>
            <a:ext cx="8686800" cy="785812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/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 smtClean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sp>
        <p:nvSpPr>
          <p:cNvPr id="17438" name="Прямоугольник 5"/>
          <p:cNvSpPr>
            <a:spLocks noChangeArrowheads="1"/>
          </p:cNvSpPr>
          <p:nvPr/>
        </p:nvSpPr>
        <p:spPr bwMode="auto">
          <a:xfrm>
            <a:off x="785786" y="357166"/>
            <a:ext cx="808040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Franklin Gothic Medium" pitchFamily="34" charset="0"/>
              </a:rPr>
              <a:t>Анализ проблем</a:t>
            </a:r>
            <a:endParaRPr lang="ru-RU" dirty="0"/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107950" y="4048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/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 smtClean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14285" y="928670"/>
          <a:ext cx="8786872" cy="3733800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2090023"/>
                <a:gridCol w="2412705"/>
                <a:gridCol w="2285381"/>
                <a:gridCol w="1998763"/>
              </a:tblGrid>
              <a:tr h="518160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Проблемы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Первопричины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Решения 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Вклад в достижение</a:t>
                      </a:r>
                      <a:r>
                        <a:rPr lang="ru-RU" sz="14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цели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929640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Низкий уровень посещаемости центров активности</a:t>
                      </a:r>
                      <a:endParaRPr lang="ru-RU" sz="11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Насыщение центров активности  </a:t>
                      </a:r>
                    </a:p>
                    <a:p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материалом не интересным, не понятным для дете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Дооснащение центров активности. Взаимодействие в оснащении центров с родителями (законными представителями)</a:t>
                      </a:r>
                      <a:r>
                        <a:rPr lang="ru-RU" sz="11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и специалистами ДОУ</a:t>
                      </a:r>
                      <a:endParaRPr lang="ru-RU" sz="11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Все</a:t>
                      </a:r>
                      <a:r>
                        <a:rPr lang="ru-RU" sz="11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центры активности оснащены всем необходимым оборудованием способствующим их привлекательности для детей.</a:t>
                      </a:r>
                      <a:endParaRPr lang="ru-RU" sz="11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94360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Отсутствие мотивации у воспитанников для самостоятельной</a:t>
                      </a:r>
                      <a:r>
                        <a:rPr lang="ru-RU" sz="11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деятельности </a:t>
                      </a:r>
                      <a:endParaRPr lang="ru-RU" sz="11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. Отсутствие интереса у детей в центре активности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Создание проблемно- поисковых ситуаций.</a:t>
                      </a:r>
                      <a:endParaRPr lang="ru-RU" sz="11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Повышение мотивации дошкольников при работе в</a:t>
                      </a:r>
                      <a:r>
                        <a:rPr lang="ru-RU" sz="11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центрах активности.</a:t>
                      </a:r>
                      <a:endParaRPr lang="ru-RU" sz="11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929640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Затруднение воспитанников в эффективном использовании центров активности</a:t>
                      </a:r>
                      <a:endParaRPr lang="ru-RU" sz="11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Не понимают предназначение центра</a:t>
                      </a:r>
                    </a:p>
                    <a:p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Быстро теряют интерес, </a:t>
                      </a:r>
                    </a:p>
                    <a:p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уходят из центра</a:t>
                      </a:r>
                    </a:p>
                    <a:p>
                      <a:endParaRPr lang="ru-RU" sz="11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Создание и размещение алгоритмов деятельности</a:t>
                      </a:r>
                      <a:r>
                        <a:rPr lang="ru-RU" sz="11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в центрах активности. </a:t>
                      </a:r>
                      <a:endParaRPr lang="ru-RU" sz="11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В</a:t>
                      </a:r>
                      <a:r>
                        <a:rPr lang="ru-RU" sz="11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центрах размещены алгоритмы деятельности</a:t>
                      </a:r>
                      <a:endParaRPr lang="ru-RU" sz="11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762000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Использование центров активности не по</a:t>
                      </a:r>
                      <a:r>
                        <a:rPr lang="ru-RU" sz="11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назначению</a:t>
                      </a:r>
                      <a:endParaRPr lang="ru-RU" sz="11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Неумение детей действовать</a:t>
                      </a:r>
                      <a:r>
                        <a:rPr lang="ru-RU" sz="11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самостоятельно. </a:t>
                      </a:r>
                      <a:endParaRPr lang="ru-RU" sz="11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Разработка и изготовление карточек подсказок, маркировка материалов центра.</a:t>
                      </a:r>
                      <a:endParaRPr lang="ru-RU" sz="11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Маркировка материалов в центрах активности, размещение карточек - подсказок.</a:t>
                      </a:r>
                      <a:endParaRPr lang="ru-RU" sz="11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Заголовок 1"/>
          <p:cNvSpPr>
            <a:spLocks noGrp="1"/>
          </p:cNvSpPr>
          <p:nvPr>
            <p:ph type="title"/>
          </p:nvPr>
        </p:nvSpPr>
        <p:spPr>
          <a:xfrm>
            <a:off x="142844" y="857232"/>
            <a:ext cx="8786874" cy="838200"/>
          </a:xfrm>
        </p:spPr>
        <p:txBody>
          <a:bodyPr/>
          <a:lstStyle/>
          <a:p>
            <a:pPr>
              <a:defRPr/>
            </a:pPr>
            <a:r>
              <a:rPr lang="ru-RU" sz="1600" dirty="0" smtClean="0">
                <a:latin typeface="Franklin Gothic Medium" pitchFamily="34" charset="0"/>
              </a:rPr>
              <a:t>Карта целевого состояния процесса</a:t>
            </a:r>
            <a:br>
              <a:rPr lang="ru-RU" sz="1600" dirty="0" smtClean="0">
                <a:latin typeface="Franklin Gothic Medium" pitchFamily="34" charset="0"/>
              </a:rPr>
            </a:br>
            <a:r>
              <a:rPr lang="ru-RU" sz="1400" dirty="0" smtClean="0">
                <a:latin typeface="Franklin Gothic Medium" pitchFamily="34" charset="0"/>
              </a:rPr>
              <a:t>«</a:t>
            </a:r>
            <a:r>
              <a:rPr lang="ru-RU" sz="1400" u="sng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Оптимизация </a:t>
            </a:r>
            <a:r>
              <a:rPr lang="ru-RU" sz="1400" u="sng" dirty="0" smtClean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роцесса подготовки центров активности в группе для мотивации самостоятельной </a:t>
            </a:r>
            <a:br>
              <a:rPr lang="ru-RU" sz="1400" u="sng" dirty="0" smtClean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</a:br>
            <a:r>
              <a:rPr lang="ru-RU" sz="1400" u="sng" dirty="0" smtClean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деятельности воспитанников»</a:t>
            </a:r>
            <a:endParaRPr lang="ru-RU" sz="1600" dirty="0" smtClean="0">
              <a:latin typeface="Franklin Gothic Medium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13D3F16A-6277-405D-89F9-9658A4A317D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5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Franklin Gothic Medium" pitchFamily="34" charset="0"/>
              </a:rPr>
              <a:t>Введение в предметную область</a:t>
            </a:r>
            <a:br>
              <a:rPr lang="ru-RU" sz="24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r>
              <a:rPr lang="ru-RU" sz="2400" b="1" dirty="0" smtClean="0">
                <a:solidFill>
                  <a:schemeClr val="tx1"/>
                </a:solidFill>
                <a:latin typeface="Franklin Gothic Medium" pitchFamily="34" charset="0"/>
              </a:rPr>
              <a:t>(описание ситуации «как будет»)</a:t>
            </a:r>
            <a:br>
              <a:rPr lang="ru-RU" sz="24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2400" b="1" dirty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sp>
        <p:nvSpPr>
          <p:cNvPr id="18446" name="TextBox 48"/>
          <p:cNvSpPr txBox="1">
            <a:spLocks noChangeArrowheads="1"/>
          </p:cNvSpPr>
          <p:nvPr/>
        </p:nvSpPr>
        <p:spPr bwMode="auto">
          <a:xfrm>
            <a:off x="214282" y="5214950"/>
            <a:ext cx="460851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ВПП (время протекания процесса) – 21 – 29 минуты</a:t>
            </a:r>
            <a:r>
              <a:rPr lang="ru-RU" sz="1200" dirty="0" smtClean="0"/>
              <a:t> </a:t>
            </a:r>
          </a:p>
          <a:p>
            <a:endParaRPr lang="ru-RU" sz="1200" b="1" dirty="0">
              <a:solidFill>
                <a:srgbClr val="C00000"/>
              </a:solidFill>
              <a:latin typeface="Calibri" pitchFamily="34" charset="0"/>
            </a:endParaRP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888868709"/>
              </p:ext>
            </p:extLst>
          </p:nvPr>
        </p:nvGraphicFramePr>
        <p:xfrm>
          <a:off x="5572132" y="2428869"/>
          <a:ext cx="1643074" cy="164307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643074"/>
              </a:tblGrid>
              <a:tr h="410769"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Воспитанники</a:t>
                      </a:r>
                    </a:p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  <a:tr h="952236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Самостоятельная деятельность</a:t>
                      </a:r>
                      <a:r>
                        <a:rPr lang="ru-RU" sz="9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в центрах активности группы, согласно оснащению и предназначению центра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  <a:tr h="280069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5-7 мин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</a:tbl>
          </a:graphicData>
        </a:graphic>
      </p:graphicFrame>
      <p:graphicFrame>
        <p:nvGraphicFramePr>
          <p:cNvPr id="31" name="Таблица 30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18070861"/>
              </p:ext>
            </p:extLst>
          </p:nvPr>
        </p:nvGraphicFramePr>
        <p:xfrm>
          <a:off x="3357554" y="2500306"/>
          <a:ext cx="1376372" cy="1667572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376372"/>
              </a:tblGrid>
              <a:tr h="455025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Воспитанники</a:t>
                      </a:r>
                    </a:p>
                    <a:p>
                      <a:endParaRPr lang="ru-RU" sz="8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  <a:tr h="902303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самостоятельно</a:t>
                      </a:r>
                    </a:p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выбирают центр</a:t>
                      </a:r>
                      <a:r>
                        <a:rPr lang="ru-RU" sz="9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активности 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  <a:tr h="310244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-2</a:t>
                      </a:r>
                      <a:r>
                        <a:rPr lang="ru-RU" sz="9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мин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</a:tbl>
          </a:graphicData>
        </a:graphic>
      </p:graphicFrame>
      <p:graphicFrame>
        <p:nvGraphicFramePr>
          <p:cNvPr id="33" name="Таблица 32"/>
          <p:cNvGraphicFramePr>
            <a:graphicFrameLocks noGrp="1"/>
          </p:cNvGraphicFramePr>
          <p:nvPr/>
        </p:nvGraphicFramePr>
        <p:xfrm>
          <a:off x="1000100" y="2928934"/>
          <a:ext cx="1357322" cy="135733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357322"/>
              </a:tblGrid>
              <a:tr h="50612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Воспитатели</a:t>
                      </a:r>
                      <a:r>
                        <a:rPr lang="ru-RU" sz="8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группы</a:t>
                      </a:r>
                      <a:endParaRPr lang="ru-RU" sz="800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  <a:tr h="506123"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Насыщение центров активности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  <a:tr h="345084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5-20 мин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</a:tbl>
          </a:graphicData>
        </a:graphic>
      </p:graphicFrame>
      <p:sp>
        <p:nvSpPr>
          <p:cNvPr id="34" name="Стрелка вправо 33"/>
          <p:cNvSpPr/>
          <p:nvPr/>
        </p:nvSpPr>
        <p:spPr>
          <a:xfrm>
            <a:off x="4929190" y="3143248"/>
            <a:ext cx="323852" cy="366862"/>
          </a:xfrm>
          <a:prstGeom prst="right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endParaRPr lang="ru-RU" b="1">
              <a:ln w="11430"/>
              <a:gradFill>
                <a:gsLst>
                  <a:gs pos="0">
                    <a:schemeClr val="accent6">
                      <a:tint val="90000"/>
                      <a:satMod val="120000"/>
                    </a:schemeClr>
                  </a:gs>
                  <a:gs pos="25000">
                    <a:schemeClr val="accent6">
                      <a:tint val="93000"/>
                      <a:satMod val="120000"/>
                    </a:schemeClr>
                  </a:gs>
                  <a:gs pos="50000">
                    <a:schemeClr val="accent6">
                      <a:shade val="89000"/>
                      <a:satMod val="110000"/>
                    </a:schemeClr>
                  </a:gs>
                  <a:gs pos="75000">
                    <a:schemeClr val="accent6">
                      <a:tint val="93000"/>
                      <a:satMod val="120000"/>
                    </a:schemeClr>
                  </a:gs>
                  <a:gs pos="100000">
                    <a:schemeClr val="accent6">
                      <a:tint val="90000"/>
                      <a:satMod val="120000"/>
                    </a:schemeClr>
                  </a:gs>
                </a:gsLst>
                <a:lin ang="5400000"/>
              </a:gra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35" name="Стрелка вправо 34"/>
          <p:cNvSpPr/>
          <p:nvPr/>
        </p:nvSpPr>
        <p:spPr>
          <a:xfrm>
            <a:off x="2643174" y="3143248"/>
            <a:ext cx="404815" cy="366862"/>
          </a:xfrm>
          <a:prstGeom prst="right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endParaRPr lang="ru-RU" b="1">
              <a:ln w="11430"/>
              <a:gradFill>
                <a:gsLst>
                  <a:gs pos="0">
                    <a:schemeClr val="accent6">
                      <a:tint val="90000"/>
                      <a:satMod val="120000"/>
                    </a:schemeClr>
                  </a:gs>
                  <a:gs pos="25000">
                    <a:schemeClr val="accent6">
                      <a:tint val="93000"/>
                      <a:satMod val="120000"/>
                    </a:schemeClr>
                  </a:gs>
                  <a:gs pos="50000">
                    <a:schemeClr val="accent6">
                      <a:shade val="89000"/>
                      <a:satMod val="110000"/>
                    </a:schemeClr>
                  </a:gs>
                  <a:gs pos="75000">
                    <a:schemeClr val="accent6">
                      <a:tint val="93000"/>
                      <a:satMod val="120000"/>
                    </a:schemeClr>
                  </a:gs>
                  <a:gs pos="100000">
                    <a:schemeClr val="accent6">
                      <a:tint val="90000"/>
                      <a:satMod val="120000"/>
                    </a:schemeClr>
                  </a:gs>
                </a:gsLst>
                <a:lin ang="5400000"/>
              </a:gra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285720" y="1714488"/>
            <a:ext cx="242889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Дооснащение центров активности. Взаимодействие в оснащении центров с родителями (законными представителями) и специалистами ДОУ. Создание проблемно- поисковых ситуаций.</a:t>
            </a:r>
            <a:endParaRPr lang="ru-RU" sz="11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5072066" y="1857364"/>
            <a:ext cx="342902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Создание и размещение алгоритмов деятельности в центрах активности. Маркировка центров активности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285720" y="857232"/>
            <a:ext cx="814393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Карта идеального состояния процесса</a:t>
            </a:r>
          </a:p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1400" u="sng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Оптимизация </a:t>
            </a:r>
            <a:r>
              <a:rPr lang="ru-RU" sz="1400" u="sng" dirty="0" smtClean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роцесса презентации центров активности в группе для мотивации самостоятельной деятельности воспитанников» </a:t>
            </a: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6858016" y="2143116"/>
          <a:ext cx="1428760" cy="135731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428760"/>
              </a:tblGrid>
              <a:tr h="339329"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Воспитанники</a:t>
                      </a:r>
                    </a:p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  <a:tr h="786626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Самостоятельно используют</a:t>
                      </a:r>
                      <a:r>
                        <a:rPr lang="ru-RU" sz="9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 оснащение центра согласно предназначению.</a:t>
                      </a: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  <a:tr h="231361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5-7 мин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4429124" y="2143116"/>
          <a:ext cx="1357322" cy="1357321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357322"/>
              </a:tblGrid>
              <a:tr h="268211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Воспитанники</a:t>
                      </a: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  <a:tr h="810449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Самостоятельно организуют деятельность в центре активности 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  <a:tr h="278661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3-5 мин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285984" y="2143116"/>
          <a:ext cx="1285884" cy="1357322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85884"/>
              </a:tblGrid>
              <a:tr h="37798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Воспитанники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  <a:tr h="721614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Выбирают центр</a:t>
                      </a:r>
                      <a:r>
                        <a:rPr lang="ru-RU" sz="9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активности (по желанию и интересам)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  <a:tr h="257719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-2 мин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841123733"/>
              </p:ext>
            </p:extLst>
          </p:nvPr>
        </p:nvGraphicFramePr>
        <p:xfrm>
          <a:off x="285720" y="2071678"/>
          <a:ext cx="1214446" cy="1357322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14446"/>
              </a:tblGrid>
              <a:tr h="60775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Воспитатели</a:t>
                      </a:r>
                      <a:r>
                        <a:rPr lang="ru-RU" sz="8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группы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  <a:tr h="445688"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Презентация центров активности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  <a:tr h="303877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-15 мин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mpd="sng">
                      <a:noFill/>
                    </a:lnR>
                  </a:tcPr>
                </a:tc>
              </a:tr>
            </a:tbl>
          </a:graphicData>
        </a:graphic>
      </p:graphicFrame>
      <p:sp>
        <p:nvSpPr>
          <p:cNvPr id="8" name="Стрелка вправо 7"/>
          <p:cNvSpPr/>
          <p:nvPr/>
        </p:nvSpPr>
        <p:spPr>
          <a:xfrm>
            <a:off x="3786182" y="2714620"/>
            <a:ext cx="428628" cy="285752"/>
          </a:xfrm>
          <a:prstGeom prst="right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endParaRPr lang="ru-RU" b="1">
              <a:ln w="11430"/>
              <a:gradFill>
                <a:gsLst>
                  <a:gs pos="0">
                    <a:schemeClr val="accent6">
                      <a:tint val="90000"/>
                      <a:satMod val="120000"/>
                    </a:schemeClr>
                  </a:gs>
                  <a:gs pos="25000">
                    <a:schemeClr val="accent6">
                      <a:tint val="93000"/>
                      <a:satMod val="120000"/>
                    </a:schemeClr>
                  </a:gs>
                  <a:gs pos="50000">
                    <a:schemeClr val="accent6">
                      <a:shade val="89000"/>
                      <a:satMod val="110000"/>
                    </a:schemeClr>
                  </a:gs>
                  <a:gs pos="75000">
                    <a:schemeClr val="accent6">
                      <a:tint val="93000"/>
                      <a:satMod val="120000"/>
                    </a:schemeClr>
                  </a:gs>
                  <a:gs pos="100000">
                    <a:schemeClr val="accent6">
                      <a:tint val="90000"/>
                      <a:satMod val="120000"/>
                    </a:schemeClr>
                  </a:gs>
                </a:gsLst>
                <a:lin ang="5400000"/>
              </a:gra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9" name="Стрелка вправо 8"/>
          <p:cNvSpPr/>
          <p:nvPr/>
        </p:nvSpPr>
        <p:spPr>
          <a:xfrm>
            <a:off x="6072198" y="2714620"/>
            <a:ext cx="428628" cy="270318"/>
          </a:xfrm>
          <a:prstGeom prst="right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endParaRPr lang="ru-RU" b="1">
              <a:ln w="11430"/>
              <a:gradFill>
                <a:gsLst>
                  <a:gs pos="0">
                    <a:schemeClr val="accent6">
                      <a:tint val="90000"/>
                      <a:satMod val="120000"/>
                    </a:schemeClr>
                  </a:gs>
                  <a:gs pos="25000">
                    <a:schemeClr val="accent6">
                      <a:tint val="93000"/>
                      <a:satMod val="120000"/>
                    </a:schemeClr>
                  </a:gs>
                  <a:gs pos="50000">
                    <a:schemeClr val="accent6">
                      <a:shade val="89000"/>
                      <a:satMod val="110000"/>
                    </a:schemeClr>
                  </a:gs>
                  <a:gs pos="75000">
                    <a:schemeClr val="accent6">
                      <a:tint val="93000"/>
                      <a:satMod val="120000"/>
                    </a:schemeClr>
                  </a:gs>
                  <a:gs pos="100000">
                    <a:schemeClr val="accent6">
                      <a:tint val="90000"/>
                      <a:satMod val="120000"/>
                    </a:schemeClr>
                  </a:gs>
                </a:gsLst>
                <a:lin ang="5400000"/>
              </a:gra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Стрелка вправо 9"/>
          <p:cNvSpPr/>
          <p:nvPr/>
        </p:nvSpPr>
        <p:spPr>
          <a:xfrm>
            <a:off x="1714480" y="2714620"/>
            <a:ext cx="357190" cy="270318"/>
          </a:xfrm>
          <a:prstGeom prst="right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endParaRPr lang="ru-RU" b="1">
              <a:ln w="11430"/>
              <a:gradFill>
                <a:gsLst>
                  <a:gs pos="0">
                    <a:schemeClr val="accent6">
                      <a:tint val="90000"/>
                      <a:satMod val="120000"/>
                    </a:schemeClr>
                  </a:gs>
                  <a:gs pos="25000">
                    <a:schemeClr val="accent6">
                      <a:tint val="93000"/>
                      <a:satMod val="120000"/>
                    </a:schemeClr>
                  </a:gs>
                  <a:gs pos="50000">
                    <a:schemeClr val="accent6">
                      <a:shade val="89000"/>
                      <a:satMod val="110000"/>
                    </a:schemeClr>
                  </a:gs>
                  <a:gs pos="75000">
                    <a:schemeClr val="accent6">
                      <a:tint val="93000"/>
                      <a:satMod val="120000"/>
                    </a:schemeClr>
                  </a:gs>
                  <a:gs pos="100000">
                    <a:schemeClr val="accent6">
                      <a:tint val="90000"/>
                      <a:satMod val="120000"/>
                    </a:schemeClr>
                  </a:gs>
                </a:gsLst>
                <a:lin ang="5400000"/>
              </a:gra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14282" y="5214950"/>
            <a:ext cx="592935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ПП (время протекания процесса) – 19- 28 минуты 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3010" name="think-cell Slide" r:id="rId4" imgW="360" imgH="360" progId="">
              <p:embed/>
            </p:oleObj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7650" y="116632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Достигнутые результаты (было и стало)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8</a:t>
            </a:fld>
            <a:endParaRPr lang="ru-RU" sz="140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017345943"/>
              </p:ext>
            </p:extLst>
          </p:nvPr>
        </p:nvGraphicFramePr>
        <p:xfrm>
          <a:off x="357158" y="857232"/>
          <a:ext cx="8429684" cy="5441639"/>
        </p:xfrm>
        <a:graphic>
          <a:graphicData uri="http://schemas.openxmlformats.org/drawingml/2006/table">
            <a:tbl>
              <a:tblPr firstRow="1" firstCol="1" bandRow="1">
                <a:tableStyleId>{E8B1032C-EA38-4F05-BA0D-38AFFFC7BED3}</a:tableStyleId>
              </a:tblPr>
              <a:tblGrid>
                <a:gridCol w="2786082"/>
                <a:gridCol w="3714776"/>
                <a:gridCol w="1928826"/>
              </a:tblGrid>
              <a:tr h="4286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/>
                </a:tc>
              </a:tr>
              <a:tr h="9121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Отсутствие мотивации у воспитанников для самостоятельной деятельности.</a:t>
                      </a:r>
                    </a:p>
                    <a:p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6355" marR="26355" marT="0" marB="0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2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Появление интереса у детей в центре активности</a:t>
                      </a:r>
                      <a:endParaRPr lang="ru-RU" sz="1200" dirty="0" smtClean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2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6355" marR="26355" marT="0" marB="0"/>
                </a:tc>
                <a:tc rowSpan="6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/>
                </a:tc>
              </a:tr>
              <a:tr h="91218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Низкий уровень посещаемости центров активности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200" b="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6355" marR="26355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Все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центры активности оснащены всем необходимым оборудованием способствующим их привлекательности для детей.</a:t>
                      </a:r>
                      <a:endParaRPr lang="ru-RU" sz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6355" marR="26355" marT="0" marB="0"/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3315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Затруднение воспитанников в эффективном использовании центров активности</a:t>
                      </a:r>
                    </a:p>
                    <a:p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6355" marR="26355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Создание и размещение алгоритмов деятельности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в центрах активности. </a:t>
                      </a:r>
                      <a:endParaRPr lang="ru-RU" sz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Самостоятельно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ринимают решение в использовании центра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6355" marR="26355" marT="0" marB="0"/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1218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пользование центров активности не по</a:t>
                      </a:r>
                      <a:r>
                        <a:rPr lang="ru-RU" sz="12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назначению</a:t>
                      </a:r>
                      <a:endParaRPr lang="ru-RU" sz="12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6355" marR="26355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Маркировка материалов в центрах активности, размещение карточек – подсказок, позволяет использовать центр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о назначению</a:t>
                      </a:r>
                      <a:endParaRPr lang="ru-RU" sz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6355" marR="26355" marT="0" marB="0"/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9600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400" u="none" strike="noStrike" kern="1200" spc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ремя протекания процесса </a:t>
                      </a:r>
                    </a:p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31- 47 минут</a:t>
                      </a:r>
                      <a:endParaRPr lang="ru-RU" sz="1400" u="none" strike="noStrike" kern="1200" spc="0" dirty="0" smtClean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6355" marR="26355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spc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ремя протекания процесса 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1 – 29 минуты 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6355" marR="26355" marT="0" marB="0"/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400" b="1" u="none" strike="noStrike" kern="1200" spc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547309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2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6355" marR="26355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" name="Picture 3" descr="C:\Users\User\Desktop\23-10-2020_18-12-57\IMG_426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00892" y="4071942"/>
            <a:ext cx="1657336" cy="193140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Picture 4" descr="C:\Users\User\Desktop\23-10-2020_18-12-57\IMG_4259.JPG"/>
          <p:cNvPicPr>
            <a:picLocks noChangeAspect="1" noChangeArrowheads="1"/>
          </p:cNvPicPr>
          <p:nvPr/>
        </p:nvPicPr>
        <p:blipFill>
          <a:blip r:embed="rId6" cstate="print"/>
          <a:srcRect r="10979"/>
          <a:stretch>
            <a:fillRect/>
          </a:stretch>
        </p:blipFill>
        <p:spPr bwMode="auto">
          <a:xfrm>
            <a:off x="7072330" y="1500174"/>
            <a:ext cx="1357290" cy="203291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="" xmlns:p14="http://schemas.microsoft.com/office/powerpoint/2010/main" val="41085931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61</TotalTime>
  <Words>761</Words>
  <Application>Microsoft Office PowerPoint</Application>
  <PresentationFormat>Экран (4:3)</PresentationFormat>
  <Paragraphs>159</Paragraphs>
  <Slides>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0" baseType="lpstr">
      <vt:lpstr>Тема Office</vt:lpstr>
      <vt:lpstr>think-cell Slide</vt:lpstr>
      <vt:lpstr>ПАСПОРТ ПРОЕКТА  «Оптимизация процесса  презентации центров активности в группе для мотивации самостоятельной деятельности воспитанников»</vt:lpstr>
      <vt:lpstr>Команда проекта </vt:lpstr>
      <vt:lpstr>Карта текущего состояния процесса «Оптимизация процесса презентации центров активности в группе для мотивации самостоятельной деятельности воспитанников» » </vt:lpstr>
      <vt:lpstr>Пирамида проблем</vt:lpstr>
      <vt:lpstr>Слайд 5</vt:lpstr>
      <vt:lpstr>Карта целевого состояния процесса «Оптимизация процесса подготовки центров активности в группе для мотивации самостоятельной  деятельности воспитанников»</vt:lpstr>
      <vt:lpstr>Слайд 7</vt:lpstr>
      <vt:lpstr>Достигнутые результаты (было и стало)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User</cp:lastModifiedBy>
  <cp:revision>87</cp:revision>
  <cp:lastPrinted>2019-04-25T09:14:46Z</cp:lastPrinted>
  <dcterms:created xsi:type="dcterms:W3CDTF">2018-08-20T14:01:12Z</dcterms:created>
  <dcterms:modified xsi:type="dcterms:W3CDTF">2020-10-27T15:07:01Z</dcterms:modified>
</cp:coreProperties>
</file>